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402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8A8A8"/>
    <a:srgbClr val="F6F6F6"/>
    <a:srgbClr val="444444"/>
    <a:srgbClr val="E5E5E5"/>
    <a:srgbClr val="8D8D8D"/>
    <a:srgbClr val="5A5A5A"/>
    <a:srgbClr val="BDBDBD"/>
    <a:srgbClr val="727272"/>
    <a:srgbClr val="D9D9D9"/>
    <a:srgbClr val="EB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48" d="100"/>
          <a:sy n="148" d="100"/>
        </p:scale>
        <p:origin x="654" y="114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20CDF186-CBE6-4933-86DD-8AB20520AB06}"/>
    <pc:docChg chg="undo custSel addSld delSld modSld sldOrd">
      <pc:chgData name="Meyer Raphael (PAR-ES)" userId="79615dfe-ed48-4e74-a40f-4f7b034c1c27" providerId="ADAL" clId="{20CDF186-CBE6-4933-86DD-8AB20520AB06}" dt="2022-02-21T10:58:55.846" v="289"/>
      <pc:docMkLst>
        <pc:docMk/>
      </pc:docMkLst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20CDF186-CBE6-4933-86DD-8AB20520AB06}" dt="2022-02-21T10:41:47.142" v="1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505455628" sldId="394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31180641" sldId="39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338066774" sldId="399"/>
        </pc:sldMkLst>
      </pc:sldChg>
      <pc:sldChg chg="addSp modSp mod">
        <pc:chgData name="Meyer Raphael (PAR-ES)" userId="79615dfe-ed48-4e74-a40f-4f7b034c1c27" providerId="ADAL" clId="{20CDF186-CBE6-4933-86DD-8AB20520AB06}" dt="2022-02-21T10:55:13.495" v="246" actId="20577"/>
        <pc:sldMkLst>
          <pc:docMk/>
          <pc:sldMk cId="57003221" sldId="400"/>
        </pc:sldMkLst>
        <pc:spChg chg="add mod">
          <ac:chgData name="Meyer Raphael (PAR-ES)" userId="79615dfe-ed48-4e74-a40f-4f7b034c1c27" providerId="ADAL" clId="{20CDF186-CBE6-4933-86DD-8AB20520AB06}" dt="2022-02-21T10:50:49.704" v="227"/>
          <ac:spMkLst>
            <pc:docMk/>
            <pc:sldMk cId="57003221" sldId="400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13.495" v="246" actId="20577"/>
          <ac:spMkLst>
            <pc:docMk/>
            <pc:sldMk cId="57003221" sldId="400"/>
            <ac:spMk id="10" creationId="{A424E1BC-05C2-425D-871B-AFDD25022AB3}"/>
          </ac:spMkLst>
        </pc:spChg>
      </pc:sldChg>
      <pc:sldChg chg="addSp modSp add mod ord">
        <pc:chgData name="Meyer Raphael (PAR-ES)" userId="79615dfe-ed48-4e74-a40f-4f7b034c1c27" providerId="ADAL" clId="{20CDF186-CBE6-4933-86DD-8AB20520AB06}" dt="2022-02-21T10:56:45.336" v="267"/>
        <pc:sldMkLst>
          <pc:docMk/>
          <pc:sldMk cId="2346713788" sldId="401"/>
        </pc:sldMkLst>
        <pc:spChg chg="add mod">
          <ac:chgData name="Meyer Raphael (PAR-ES)" userId="79615dfe-ed48-4e74-a40f-4f7b034c1c27" providerId="ADAL" clId="{20CDF186-CBE6-4933-86DD-8AB20520AB06}" dt="2022-02-21T10:49:07.742" v="226" actId="688"/>
          <ac:spMkLst>
            <pc:docMk/>
            <pc:sldMk cId="2346713788" sldId="401"/>
            <ac:spMk id="5" creationId="{9603D10F-F389-45C8-98C2-576ECB924008}"/>
          </ac:spMkLst>
        </pc:spChg>
        <pc:spChg chg="mod">
          <ac:chgData name="Meyer Raphael (PAR-ES)" userId="79615dfe-ed48-4e74-a40f-4f7b034c1c27" providerId="ADAL" clId="{20CDF186-CBE6-4933-86DD-8AB20520AB06}" dt="2022-02-21T10:55:08.405" v="242" actId="20577"/>
          <ac:spMkLst>
            <pc:docMk/>
            <pc:sldMk cId="2346713788" sldId="401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3:23.639" v="233"/>
          <ac:graphicFrameMkLst>
            <pc:docMk/>
            <pc:sldMk cId="2346713788" sldId="401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45.336" v="267"/>
          <ac:graphicFrameMkLst>
            <pc:docMk/>
            <pc:sldMk cId="2346713788" sldId="401"/>
            <ac:graphicFrameMk id="9" creationId="{CB25D658-4CAC-4D7D-8D2D-42B74A2C2DC7}"/>
          </ac:graphicFrameMkLst>
        </pc:graphicFrameChg>
      </pc:sldChg>
      <pc:sldChg chg="modSp add mod">
        <pc:chgData name="Meyer Raphael (PAR-ES)" userId="79615dfe-ed48-4e74-a40f-4f7b034c1c27" providerId="ADAL" clId="{20CDF186-CBE6-4933-86DD-8AB20520AB06}" dt="2022-02-21T10:56:31.545" v="266"/>
        <pc:sldMkLst>
          <pc:docMk/>
          <pc:sldMk cId="1838343115" sldId="402"/>
        </pc:sldMkLst>
        <pc:spChg chg="mod">
          <ac:chgData name="Meyer Raphael (PAR-ES)" userId="79615dfe-ed48-4e74-a40f-4f7b034c1c27" providerId="ADAL" clId="{20CDF186-CBE6-4933-86DD-8AB20520AB06}" dt="2022-02-21T10:55:24.859" v="252" actId="20577"/>
          <ac:spMkLst>
            <pc:docMk/>
            <pc:sldMk cId="1838343115" sldId="402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03.691" v="240" actId="20577"/>
          <ac:spMkLst>
            <pc:docMk/>
            <pc:sldMk cId="1838343115" sldId="402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6:14.051" v="263"/>
          <ac:graphicFrameMkLst>
            <pc:docMk/>
            <pc:sldMk cId="1838343115" sldId="402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31.545" v="266"/>
          <ac:graphicFrameMkLst>
            <pc:docMk/>
            <pc:sldMk cId="1838343115" sldId="402"/>
            <ac:graphicFrameMk id="9" creationId="{CB25D658-4CAC-4D7D-8D2D-42B74A2C2DC7}"/>
          </ac:graphicFrameMkLst>
        </pc:graphicFrameChg>
      </pc:sldChg>
      <pc:sldChg chg="add del">
        <pc:chgData name="Meyer Raphael (PAR-ES)" userId="79615dfe-ed48-4e74-a40f-4f7b034c1c27" providerId="ADAL" clId="{20CDF186-CBE6-4933-86DD-8AB20520AB06}" dt="2022-02-21T10:50:58.515" v="228" actId="47"/>
        <pc:sldMkLst>
          <pc:docMk/>
          <pc:sldMk cId="4203787655" sldId="402"/>
        </pc:sldMkLst>
      </pc:sldChg>
      <pc:sldChg chg="add del">
        <pc:chgData name="Meyer Raphael (PAR-ES)" userId="79615dfe-ed48-4e74-a40f-4f7b034c1c27" providerId="ADAL" clId="{20CDF186-CBE6-4933-86DD-8AB20520AB06}" dt="2022-02-21T10:50:59.912" v="229" actId="47"/>
        <pc:sldMkLst>
          <pc:docMk/>
          <pc:sldMk cId="2022964754" sldId="403"/>
        </pc:sldMkLst>
      </pc:sldChg>
      <pc:sldChg chg="modSp add mod">
        <pc:chgData name="Meyer Raphael (PAR-ES)" userId="79615dfe-ed48-4e74-a40f-4f7b034c1c27" providerId="ADAL" clId="{20CDF186-CBE6-4933-86DD-8AB20520AB06}" dt="2022-02-21T10:58:55.846" v="289"/>
        <pc:sldMkLst>
          <pc:docMk/>
          <pc:sldMk cId="3015962495" sldId="403"/>
        </pc:sldMkLst>
        <pc:spChg chg="mod">
          <ac:chgData name="Meyer Raphael (PAR-ES)" userId="79615dfe-ed48-4e74-a40f-4f7b034c1c27" providerId="ADAL" clId="{20CDF186-CBE6-4933-86DD-8AB20520AB06}" dt="2022-02-21T10:57:57.696" v="276" actId="20577"/>
          <ac:spMkLst>
            <pc:docMk/>
            <pc:sldMk cId="3015962495" sldId="403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7:49.478" v="270" actId="20577"/>
          <ac:spMkLst>
            <pc:docMk/>
            <pc:sldMk cId="3015962495" sldId="403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8:40.123" v="285"/>
          <ac:graphicFrameMkLst>
            <pc:docMk/>
            <pc:sldMk cId="3015962495" sldId="403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8:55.846" v="289"/>
          <ac:graphicFrameMkLst>
            <pc:docMk/>
            <pc:sldMk cId="3015962495" sldId="403"/>
            <ac:graphicFrameMk id="9" creationId="{CB25D658-4CAC-4D7D-8D2D-42B74A2C2DC7}"/>
          </ac:graphicFrameMkLst>
        </pc:graphicFrameChg>
      </pc:sldChg>
      <pc:sldMasterChg chg="delSldLayout">
        <pc:chgData name="Meyer Raphael (PAR-ES)" userId="79615dfe-ed48-4e74-a40f-4f7b034c1c27" providerId="ADAL" clId="{20CDF186-CBE6-4933-86DD-8AB20520AB06}" dt="2022-02-21T10:41:51.798" v="2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20CDF186-CBE6-4933-86DD-8AB20520AB06}" dt="2022-02-21T10:41:51.798" v="2" actId="47"/>
          <pc:sldLayoutMkLst>
            <pc:docMk/>
            <pc:sldMasterMk cId="247366169" sldId="2147483712"/>
            <pc:sldLayoutMk cId="3770387148" sldId="2147483748"/>
          </pc:sldLayoutMkLst>
        </pc:sldLayoutChg>
      </pc:sldMaster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484A6586-18A4-4CF5-BB2F-02A5F7770728}"/>
    <pc:docChg chg="custSel addSld delSld modSld sldOrd">
      <pc:chgData name="Meyer Raphael (PAR-ES)" userId="79615dfe-ed48-4e74-a40f-4f7b034c1c27" providerId="ADAL" clId="{484A6586-18A4-4CF5-BB2F-02A5F7770728}" dt="2022-02-21T12:40:24.202" v="20" actId="20577"/>
      <pc:docMkLst>
        <pc:docMk/>
      </pc:docMkLst>
      <pc:sldChg chg="modSp add mod">
        <pc:chgData name="Meyer Raphael (PAR-ES)" userId="79615dfe-ed48-4e74-a40f-4f7b034c1c27" providerId="ADAL" clId="{484A6586-18A4-4CF5-BB2F-02A5F7770728}" dt="2022-02-21T12:39:17.018" v="13" actId="20577"/>
        <pc:sldMkLst>
          <pc:docMk/>
          <pc:sldMk cId="91491486" sldId="403"/>
        </pc:sldMkLst>
        <pc:spChg chg="mod">
          <ac:chgData name="Meyer Raphael (PAR-ES)" userId="79615dfe-ed48-4e74-a40f-4f7b034c1c27" providerId="ADAL" clId="{484A6586-18A4-4CF5-BB2F-02A5F7770728}" dt="2022-02-21T12:38:56.572" v="7"/>
          <ac:spMkLst>
            <pc:docMk/>
            <pc:sldMk cId="91491486" sldId="40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39:17.018" v="13" actId="20577"/>
          <ac:spMkLst>
            <pc:docMk/>
            <pc:sldMk cId="91491486" sldId="403"/>
            <ac:spMk id="7" creationId="{8B4B6626-9A0F-4741-8F83-BF160AB040D0}"/>
          </ac:spMkLst>
        </pc:spChg>
      </pc:sldChg>
      <pc:sldChg chg="del">
        <pc:chgData name="Meyer Raphael (PAR-ES)" userId="79615dfe-ed48-4e74-a40f-4f7b034c1c27" providerId="ADAL" clId="{484A6586-18A4-4CF5-BB2F-02A5F7770728}" dt="2022-02-21T12:34:13.455" v="0" actId="47"/>
        <pc:sldMkLst>
          <pc:docMk/>
          <pc:sldMk cId="3015962495" sldId="403"/>
        </pc:sldMkLst>
      </pc:sldChg>
      <pc:sldChg chg="modSp add mod">
        <pc:chgData name="Meyer Raphael (PAR-ES)" userId="79615dfe-ed48-4e74-a40f-4f7b034c1c27" providerId="ADAL" clId="{484A6586-18A4-4CF5-BB2F-02A5F7770728}" dt="2022-02-21T12:40:24.202" v="20" actId="20577"/>
        <pc:sldMkLst>
          <pc:docMk/>
          <pc:sldMk cId="2102945685" sldId="404"/>
        </pc:sldMkLst>
        <pc:spChg chg="mod">
          <ac:chgData name="Meyer Raphael (PAR-ES)" userId="79615dfe-ed48-4e74-a40f-4f7b034c1c27" providerId="ADAL" clId="{484A6586-18A4-4CF5-BB2F-02A5F7770728}" dt="2022-02-21T12:40:06.681" v="14"/>
          <ac:spMkLst>
            <pc:docMk/>
            <pc:sldMk cId="210294568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40:24.202" v="20" actId="20577"/>
          <ac:spMkLst>
            <pc:docMk/>
            <pc:sldMk cId="2102945685" sldId="404"/>
            <ac:spMk id="7" creationId="{8B4B6626-9A0F-4741-8F83-BF160AB040D0}"/>
          </ac:spMkLst>
        </pc:spChg>
      </pc:sldChg>
      <pc:sldChg chg="modSp add mod ord">
        <pc:chgData name="Meyer Raphael (PAR-ES)" userId="79615dfe-ed48-4e74-a40f-4f7b034c1c27" providerId="ADAL" clId="{484A6586-18A4-4CF5-BB2F-02A5F7770728}" dt="2022-02-21T12:35:28.062" v="6"/>
        <pc:sldMkLst>
          <pc:docMk/>
          <pc:sldMk cId="246157559" sldId="405"/>
        </pc:sldMkLst>
        <pc:spChg chg="mod">
          <ac:chgData name="Meyer Raphael (PAR-ES)" userId="79615dfe-ed48-4e74-a40f-4f7b034c1c27" providerId="ADAL" clId="{484A6586-18A4-4CF5-BB2F-02A5F7770728}" dt="2022-02-21T12:34:55.740" v="4"/>
          <ac:spMkLst>
            <pc:docMk/>
            <pc:sldMk cId="246157559" sldId="405"/>
            <ac:spMk id="2" creationId="{00000000-0000-0000-0000-000000000000}"/>
          </ac:spMkLst>
        </pc:spChg>
      </pc:sldChg>
      <pc:sldMasterChg chg="delSldLayout">
        <pc:chgData name="Meyer Raphael (PAR-ES)" userId="79615dfe-ed48-4e74-a40f-4f7b034c1c27" providerId="ADAL" clId="{484A6586-18A4-4CF5-BB2F-02A5F7770728}" dt="2022-02-21T12:34:13.455" v="0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484A6586-18A4-4CF5-BB2F-02A5F7770728}" dt="2022-02-21T12:34:13.455" v="0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Weigel Stefan (PAR-EPS)" userId="fd3b2067-2981-4ad8-bf3a-d2e1004e4fa8" providerId="ADAL" clId="{1BF24A91-63D7-4949-84D4-21A016241DDA}"/>
    <pc:docChg chg="modSld">
      <pc:chgData name="Weigel Stefan (PAR-EPS)" userId="fd3b2067-2981-4ad8-bf3a-d2e1004e4fa8" providerId="ADAL" clId="{1BF24A91-63D7-4949-84D4-21A016241DDA}" dt="2025-02-13T14:14:18.758" v="4" actId="27918"/>
      <pc:docMkLst>
        <pc:docMk/>
      </pc:docMkLst>
      <pc:sldChg chg="mod">
        <pc:chgData name="Weigel Stefan (PAR-EPS)" userId="fd3b2067-2981-4ad8-bf3a-d2e1004e4fa8" providerId="ADAL" clId="{1BF24A91-63D7-4949-84D4-21A016241DDA}" dt="2025-02-13T14:14:18.758" v="4" actId="27918"/>
        <pc:sldMkLst>
          <pc:docMk/>
          <pc:sldMk cId="3613367002" sldId="402"/>
        </pc:sldMkLst>
      </pc:sldChg>
    </pc:docChg>
  </pc:docChgLst>
  <pc:docChgLst>
    <pc:chgData name="Meyer Raphael (PAR-ES)" userId="79615dfe-ed48-4e74-a40f-4f7b034c1c27" providerId="ADAL" clId="{9F9B9FD7-0640-47D8-8A6F-A51C9AF6C79B}"/>
    <pc:docChg chg="undo custSel modSld">
      <pc:chgData name="Meyer Raphael (PAR-ES)" userId="79615dfe-ed48-4e74-a40f-4f7b034c1c27" providerId="ADAL" clId="{9F9B9FD7-0640-47D8-8A6F-A51C9AF6C79B}" dt="2022-02-21T10:33:15.684" v="375" actId="478"/>
      <pc:docMkLst>
        <pc:docMk/>
      </pc:docMkLst>
      <pc:sldChg chg="modSp mod">
        <pc:chgData name="Meyer Raphael (PAR-ES)" userId="79615dfe-ed48-4e74-a40f-4f7b034c1c27" providerId="ADAL" clId="{9F9B9FD7-0640-47D8-8A6F-A51C9AF6C79B}" dt="2022-02-21T10:07:33.564" v="171" actId="1037"/>
        <pc:sldMkLst>
          <pc:docMk/>
          <pc:sldMk cId="1063731919" sldId="260"/>
        </pc:sldMkLst>
        <pc:graphicFrameChg chg="mod">
          <ac:chgData name="Meyer Raphael (PAR-ES)" userId="79615dfe-ed48-4e74-a40f-4f7b034c1c27" providerId="ADAL" clId="{9F9B9FD7-0640-47D8-8A6F-A51C9AF6C79B}" dt="2022-02-21T10:06:49.430" v="84" actId="1037"/>
          <ac:graphicFrameMkLst>
            <pc:docMk/>
            <pc:sldMk cId="1063731919" sldId="26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07:33.564" v="171" actId="1037"/>
          <ac:graphicFrameMkLst>
            <pc:docMk/>
            <pc:sldMk cId="1063731919" sldId="260"/>
            <ac:graphicFrameMk id="9" creationId="{CB25D658-4CAC-4D7D-8D2D-42B74A2C2DC7}"/>
          </ac:graphicFrameMkLst>
        </pc:graphicFrameChg>
      </pc:sldChg>
      <pc:sldChg chg="addSp delSp modSp mod">
        <pc:chgData name="Meyer Raphael (PAR-ES)" userId="79615dfe-ed48-4e74-a40f-4f7b034c1c27" providerId="ADAL" clId="{9F9B9FD7-0640-47D8-8A6F-A51C9AF6C79B}" dt="2022-02-21T10:33:15.684" v="375" actId="478"/>
        <pc:sldMkLst>
          <pc:docMk/>
          <pc:sldMk cId="57003221" sldId="400"/>
        </pc:sldMkLst>
        <pc:spChg chg="del">
          <ac:chgData name="Meyer Raphael (PAR-ES)" userId="79615dfe-ed48-4e74-a40f-4f7b034c1c27" providerId="ADAL" clId="{9F9B9FD7-0640-47D8-8A6F-A51C9AF6C79B}" dt="2022-02-21T10:03:43.466" v="8" actId="478"/>
          <ac:spMkLst>
            <pc:docMk/>
            <pc:sldMk cId="57003221" sldId="400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9F9B9FD7-0640-47D8-8A6F-A51C9AF6C79B}" dt="2022-02-21T10:01:57.140" v="7" actId="478"/>
          <ac:spMkLst>
            <pc:docMk/>
            <pc:sldMk cId="57003221" sldId="400"/>
            <ac:spMk id="3" creationId="{00000000-0000-0000-0000-000000000000}"/>
          </ac:spMkLst>
        </pc:spChg>
        <pc:spChg chg="add del mod">
          <ac:chgData name="Meyer Raphael (PAR-ES)" userId="79615dfe-ed48-4e74-a40f-4f7b034c1c27" providerId="ADAL" clId="{9F9B9FD7-0640-47D8-8A6F-A51C9AF6C79B}" dt="2022-02-21T10:03:48.872" v="9" actId="478"/>
          <ac:spMkLst>
            <pc:docMk/>
            <pc:sldMk cId="57003221" sldId="400"/>
            <ac:spMk id="5" creationId="{018E3DA8-F096-483C-B893-9ADF9DD7914A}"/>
          </ac:spMkLst>
        </pc:spChg>
        <pc:spChg chg="add mod">
          <ac:chgData name="Meyer Raphael (PAR-ES)" userId="79615dfe-ed48-4e74-a40f-4f7b034c1c27" providerId="ADAL" clId="{9F9B9FD7-0640-47D8-8A6F-A51C9AF6C79B}" dt="2022-02-21T10:03:56.299" v="10"/>
          <ac:spMkLst>
            <pc:docMk/>
            <pc:sldMk cId="57003221" sldId="400"/>
            <ac:spMk id="10" creationId="{A424E1BC-05C2-425D-871B-AFDD25022AB3}"/>
          </ac:spMkLst>
        </pc:spChg>
        <pc:spChg chg="add del mod">
          <ac:chgData name="Meyer Raphael (PAR-ES)" userId="79615dfe-ed48-4e74-a40f-4f7b034c1c27" providerId="ADAL" clId="{9F9B9FD7-0640-47D8-8A6F-A51C9AF6C79B}" dt="2022-02-21T10:33:15.684" v="375" actId="478"/>
          <ac:spMkLst>
            <pc:docMk/>
            <pc:sldMk cId="57003221" sldId="400"/>
            <ac:spMk id="12" creationId="{897EB0E3-6369-4C40-949F-D3D8E1A672A1}"/>
          </ac:spMkLst>
        </pc:spChg>
        <pc:graphicFrameChg chg="mod">
          <ac:chgData name="Meyer Raphael (PAR-ES)" userId="79615dfe-ed48-4e74-a40f-4f7b034c1c27" providerId="ADAL" clId="{9F9B9FD7-0640-47D8-8A6F-A51C9AF6C79B}" dt="2022-02-21T10:31:34.881" v="371"/>
          <ac:graphicFrameMkLst>
            <pc:docMk/>
            <pc:sldMk cId="57003221" sldId="40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32:14.166" v="373"/>
          <ac:graphicFrameMkLst>
            <pc:docMk/>
            <pc:sldMk cId="57003221" sldId="400"/>
            <ac:graphicFrameMk id="9" creationId="{CB25D658-4CAC-4D7D-8D2D-42B74A2C2DC7}"/>
          </ac:graphicFrameMkLst>
        </pc:graphicFrameChg>
        <pc:cxnChg chg="add del mod">
          <ac:chgData name="Meyer Raphael (PAR-ES)" userId="79615dfe-ed48-4e74-a40f-4f7b034c1c27" providerId="ADAL" clId="{9F9B9FD7-0640-47D8-8A6F-A51C9AF6C79B}" dt="2022-02-21T10:19:00.931" v="329" actId="478"/>
          <ac:cxnSpMkLst>
            <pc:docMk/>
            <pc:sldMk cId="57003221" sldId="400"/>
            <ac:cxnSpMk id="7" creationId="{E8574A02-7413-4262-9E26-4C4336B50560}"/>
          </ac:cxnSpMkLst>
        </pc:cxnChg>
        <pc:cxnChg chg="add del mod">
          <ac:chgData name="Meyer Raphael (PAR-ES)" userId="79615dfe-ed48-4e74-a40f-4f7b034c1c27" providerId="ADAL" clId="{9F9B9FD7-0640-47D8-8A6F-A51C9AF6C79B}" dt="2022-02-21T10:19:04.622" v="330" actId="478"/>
          <ac:cxnSpMkLst>
            <pc:docMk/>
            <pc:sldMk cId="57003221" sldId="400"/>
            <ac:cxnSpMk id="11" creationId="{3A487F58-E856-4C17-B264-8471BA9AC6DD}"/>
          </ac:cxnSpMkLst>
        </pc:cxnChg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AB9BD83-2AB0-4B74-AB8D-3C141C871FF0}"/>
    <pc:docChg chg="delSld">
      <pc:chgData name="Meyer Raphael (PAR-ES)" userId="79615dfe-ed48-4e74-a40f-4f7b034c1c27" providerId="ADAL" clId="{EAB9BD83-2AB0-4B74-AB8D-3C141C871FF0}" dt="2022-02-21T12:46:15.248" v="0" actId="47"/>
      <pc:docMkLst>
        <pc:docMk/>
      </pc:docMkLst>
      <pc:sldChg chg="del">
        <pc:chgData name="Meyer Raphael (PAR-ES)" userId="79615dfe-ed48-4e74-a40f-4f7b034c1c27" providerId="ADAL" clId="{EAB9BD83-2AB0-4B74-AB8D-3C141C871FF0}" dt="2022-02-21T12:46:15.248" v="0" actId="47"/>
        <pc:sldMkLst>
          <pc:docMk/>
          <pc:sldMk cId="91491486" sldId="403"/>
        </pc:sldMkLst>
      </pc:sldChg>
      <pc:sldChg chg="del">
        <pc:chgData name="Meyer Raphael (PAR-ES)" userId="79615dfe-ed48-4e74-a40f-4f7b034c1c27" providerId="ADAL" clId="{EAB9BD83-2AB0-4B74-AB8D-3C141C871FF0}" dt="2022-02-21T12:46:15.248" v="0" actId="47"/>
        <pc:sldMkLst>
          <pc:docMk/>
          <pc:sldMk cId="2102945685" sldId="404"/>
        </pc:sldMkLst>
      </pc:sldChg>
      <pc:sldChg chg="del">
        <pc:chgData name="Meyer Raphael (PAR-ES)" userId="79615dfe-ed48-4e74-a40f-4f7b034c1c27" providerId="ADAL" clId="{EAB9BD83-2AB0-4B74-AB8D-3C141C871FF0}" dt="2022-02-21T12:46:15.248" v="0" actId="47"/>
        <pc:sldMkLst>
          <pc:docMk/>
          <pc:sldMk cId="246157559" sldId="405"/>
        </pc:sldMkLst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Weigel Stefan (PAR-EPS)" userId="fd3b2067-2981-4ad8-bf3a-d2e1004e4fa8" providerId="ADAL" clId="{71B8FAAF-7B68-475F-861E-78ED6658D91C}"/>
    <pc:docChg chg="modSld">
      <pc:chgData name="Weigel Stefan (PAR-EPS)" userId="fd3b2067-2981-4ad8-bf3a-d2e1004e4fa8" providerId="ADAL" clId="{71B8FAAF-7B68-475F-861E-78ED6658D91C}" dt="2024-04-08T14:01:36.203" v="16" actId="1037"/>
      <pc:docMkLst>
        <pc:docMk/>
      </pc:docMkLst>
      <pc:sldChg chg="modSp mod setBg">
        <pc:chgData name="Weigel Stefan (PAR-EPS)" userId="fd3b2067-2981-4ad8-bf3a-d2e1004e4fa8" providerId="ADAL" clId="{71B8FAAF-7B68-475F-861E-78ED6658D91C}" dt="2024-04-08T14:01:36.203" v="16" actId="1037"/>
        <pc:sldMkLst>
          <pc:docMk/>
          <pc:sldMk cId="3613367002" sldId="402"/>
        </pc:sldMkLst>
        <pc:spChg chg="mod">
          <ac:chgData name="Weigel Stefan (PAR-EPS)" userId="fd3b2067-2981-4ad8-bf3a-d2e1004e4fa8" providerId="ADAL" clId="{71B8FAAF-7B68-475F-861E-78ED6658D91C}" dt="2024-04-08T14:01:36.203" v="16" actId="1037"/>
          <ac:spMkLst>
            <pc:docMk/>
            <pc:sldMk cId="3613367002" sldId="402"/>
            <ac:spMk id="7" creationId="{8B4B6626-9A0F-4741-8F83-BF160AB040D0}"/>
          </ac:spMkLst>
        </pc:spChg>
        <pc:graphicFrameChg chg="mod">
          <ac:chgData name="Weigel Stefan (PAR-EPS)" userId="fd3b2067-2981-4ad8-bf3a-d2e1004e4fa8" providerId="ADAL" clId="{71B8FAAF-7B68-475F-861E-78ED6658D91C}" dt="2024-04-08T14:01:22.481" v="9"/>
          <ac:graphicFrameMkLst>
            <pc:docMk/>
            <pc:sldMk cId="3613367002" sldId="402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4C67D90F-5267-4B83-A05D-7450935D777C}"/>
    <pc:docChg chg="modSld">
      <pc:chgData name="Meyer Raphael (PAR-ES)" userId="79615dfe-ed48-4e74-a40f-4f7b034c1c27" providerId="ADAL" clId="{4C67D90F-5267-4B83-A05D-7450935D777C}" dt="2023-02-22T13:37:47.848" v="3" actId="27918"/>
      <pc:docMkLst>
        <pc:docMk/>
      </pc:docMkLst>
      <pc:sldChg chg="mod">
        <pc:chgData name="Meyer Raphael (PAR-ES)" userId="79615dfe-ed48-4e74-a40f-4f7b034c1c27" providerId="ADAL" clId="{4C67D90F-5267-4B83-A05D-7450935D777C}" dt="2023-02-22T13:37:47.848" v="3" actId="27918"/>
        <pc:sldMkLst>
          <pc:docMk/>
          <pc:sldMk cId="3613367002" sldId="402"/>
        </pc:sldMkLst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PAR-EPS)" userId="fd3b2067-2981-4ad8-bf3a-d2e1004e4fa8" providerId="ADAL" clId="{86A99FCC-6F7B-4FC5-B31D-D6D058FD1A5C}"/>
    <pc:docChg chg="modSld">
      <pc:chgData name="Weigel Stefan (PAR-EPS)" userId="fd3b2067-2981-4ad8-bf3a-d2e1004e4fa8" providerId="ADAL" clId="{86A99FCC-6F7B-4FC5-B31D-D6D058FD1A5C}" dt="2024-03-10T07:34:20.898" v="43" actId="20577"/>
      <pc:docMkLst>
        <pc:docMk/>
      </pc:docMkLst>
      <pc:sldChg chg="modSp mod">
        <pc:chgData name="Weigel Stefan (PAR-EPS)" userId="fd3b2067-2981-4ad8-bf3a-d2e1004e4fa8" providerId="ADAL" clId="{86A99FCC-6F7B-4FC5-B31D-D6D058FD1A5C}" dt="2024-03-10T07:34:20.898" v="43" actId="20577"/>
        <pc:sldMkLst>
          <pc:docMk/>
          <pc:sldMk cId="3613367002" sldId="402"/>
        </pc:sldMkLst>
        <pc:spChg chg="mod">
          <ac:chgData name="Weigel Stefan (PAR-EPS)" userId="fd3b2067-2981-4ad8-bf3a-d2e1004e4fa8" providerId="ADAL" clId="{86A99FCC-6F7B-4FC5-B31D-D6D058FD1A5C}" dt="2024-03-10T07:34:20.898" v="43" actId="20577"/>
          <ac:spMkLst>
            <pc:docMk/>
            <pc:sldMk cId="3613367002" sldId="402"/>
            <ac:spMk id="2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353D637F-363A-420B-9CF3-D54526E0A256}"/>
    <pc:docChg chg="delSld">
      <pc:chgData name="Meyer Raphael (PAR-ES)" userId="79615dfe-ed48-4e74-a40f-4f7b034c1c27" providerId="ADAL" clId="{353D637F-363A-420B-9CF3-D54526E0A256}" dt="2022-02-21T11:04:02.632" v="0" actId="47"/>
      <pc:docMkLst>
        <pc:docMk/>
      </pc:docMkLst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57003221" sldId="400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2346713788" sldId="401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1838343115" sldId="402"/>
        </pc:sldMkLst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8.6208917430735263E-2"/>
          <c:y val="0.13279676246680386"/>
          <c:w val="0.90365307677911244"/>
          <c:h val="0.6684462983211616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C$8</c:f>
              <c:strCache>
                <c:ptCount val="1"/>
                <c:pt idx="0">
                  <c:v>Konzernergebnis</c:v>
                </c:pt>
              </c:strCache>
            </c:strRef>
          </c:tx>
          <c:spPr>
            <a:solidFill>
              <a:srgbClr val="A8A8A8"/>
            </a:solidFill>
          </c:spPr>
          <c:invertIfNegative val="0"/>
          <c:dPt>
            <c:idx val="0"/>
            <c:invertIfNegative val="0"/>
            <c:bubble3D val="0"/>
            <c:spPr>
              <a:solidFill>
                <a:srgbClr val="A8A8A8"/>
              </a:solidFill>
            </c:spPr>
            <c:extLst>
              <c:ext xmlns:c16="http://schemas.microsoft.com/office/drawing/2014/chart" uri="{C3380CC4-5D6E-409C-BE32-E72D297353CC}">
                <c16:uniqueId val="{00000009-BF2A-4774-B694-5AFB2344A678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BF2A-4774-B694-5AFB2344A678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BF2A-4774-B694-5AFB2344A678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BF2A-4774-B694-5AFB2344A678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BF2A-4774-B694-5AFB2344A678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BF2A-4774-B694-5AFB2344A678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BF2A-4774-B694-5AFB2344A678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BF2A-4774-B694-5AFB2344A678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BF2A-4774-B694-5AFB2344A678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BF2A-4774-B694-5AFB2344A678}"/>
              </c:ext>
            </c:extLst>
          </c:dPt>
          <c:dPt>
            <c:idx val="10"/>
            <c:invertIfNegative val="0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01-62E8-444B-A150-582B1759E386}"/>
              </c:ext>
            </c:extLst>
          </c:dPt>
          <c:cat>
            <c:numRef>
              <c:f>data!$B$9:$B$19</c:f>
              <c:numCache>
                <c:formatCode>General</c:formatCode>
                <c:ptCount val="11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</c:numCache>
            </c:numRef>
          </c:cat>
          <c:val>
            <c:numRef>
              <c:f>data!$C$9:$C$19</c:f>
              <c:numCache>
                <c:formatCode>0.0</c:formatCode>
                <c:ptCount val="11"/>
                <c:pt idx="0">
                  <c:v>372.88296333000102</c:v>
                </c:pt>
                <c:pt idx="1">
                  <c:v>245.66372648999999</c:v>
                </c:pt>
                <c:pt idx="2">
                  <c:v>380.637372325878</c:v>
                </c:pt>
                <c:pt idx="3">
                  <c:v>398.95878820453299</c:v>
                </c:pt>
                <c:pt idx="4">
                  <c:v>568.40585356027998</c:v>
                </c:pt>
                <c:pt idx="5">
                  <c:v>463.48435327405701</c:v>
                </c:pt>
                <c:pt idx="6">
                  <c:v>-617.01844565235501</c:v>
                </c:pt>
                <c:pt idx="7">
                  <c:v>-325.330509616754</c:v>
                </c:pt>
                <c:pt idx="8">
                  <c:v>-245.36702553034399</c:v>
                </c:pt>
                <c:pt idx="9">
                  <c:v>266.53405112842398</c:v>
                </c:pt>
                <c:pt idx="10">
                  <c:v>275.002061813035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2E8-444B-A150-582B1759E38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28999424"/>
        <c:axId val="129000960"/>
      </c:barChart>
      <c:catAx>
        <c:axId val="1289994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12700">
            <a:solidFill>
              <a:srgbClr val="5A5A5A"/>
            </a:solidFill>
          </a:ln>
        </c:spPr>
        <c:txPr>
          <a:bodyPr rot="0" vert="horz"/>
          <a:lstStyle/>
          <a:p>
            <a:pPr>
              <a:defRPr sz="1100">
                <a:solidFill>
                  <a:schemeClr val="tx2"/>
                </a:solidFill>
              </a:defRPr>
            </a:pPr>
            <a:endParaRPr lang="de-DE"/>
          </a:p>
        </c:txPr>
        <c:crossAx val="129000960"/>
        <c:crosses val="autoZero"/>
        <c:auto val="1"/>
        <c:lblAlgn val="ctr"/>
        <c:lblOffset val="100"/>
        <c:noMultiLvlLbl val="0"/>
      </c:catAx>
      <c:valAx>
        <c:axId val="129000960"/>
        <c:scaling>
          <c:orientation val="minMax"/>
          <c:max val="800"/>
          <c:min val="-800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###0;\−#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>
                <a:solidFill>
                  <a:schemeClr val="tx2"/>
                </a:solidFill>
              </a:defRPr>
            </a:pPr>
            <a:endParaRPr lang="de-DE"/>
          </a:p>
        </c:txPr>
        <c:crossAx val="128999424"/>
        <c:crosses val="autoZero"/>
        <c:crossBetween val="between"/>
        <c:majorUnit val="200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</cdr:x>
      <cdr:y>0.02239</cdr:y>
    </cdr:from>
    <cdr:to>
      <cdr:x>0.06424</cdr:x>
      <cdr:y>0.08288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0" y="89566"/>
          <a:ext cx="592076" cy="241980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non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900" dirty="0">
              <a:solidFill>
                <a:schemeClr val="tx2"/>
              </a:solidFill>
            </a:rPr>
            <a:t>Mio. </a:t>
          </a:r>
          <a:r>
            <a:rPr lang="de-CH" dirty="0">
              <a:solidFill>
                <a:schemeClr val="tx2"/>
              </a:solidFill>
            </a:rPr>
            <a:t>CHF</a:t>
          </a:r>
          <a:endParaRPr lang="de-CH" dirty="0">
            <a:solidFill>
              <a:schemeClr val="tx2"/>
            </a:solidFill>
            <a:latin typeface="Arial" pitchFamily="34" charset="0"/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4.02.2025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707749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2.xml"/><Relationship Id="rId1" Type="http://schemas.openxmlformats.org/officeDocument/2006/relationships/tags" Target="../tags/tag4.xml"/><Relationship Id="rId6" Type="http://schemas.openxmlformats.org/officeDocument/2006/relationships/chart" Target="../charts/chart1.x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92046CFF-74E2-4454-B6E3-B6BB8B051F0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60" imgH="359" progId="TCLayout.ActiveDocument.1">
                  <p:embed/>
                </p:oleObj>
              </mc:Choice>
              <mc:Fallback>
                <p:oleObj name="think-cell Folie" r:id="rId4" imgW="360" imgH="359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92046CFF-74E2-4454-B6E3-B6BB8B051F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Konzernergebnis SBB.</a:t>
            </a: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2886076231"/>
              </p:ext>
            </p:extLst>
          </p:nvPr>
        </p:nvGraphicFramePr>
        <p:xfrm>
          <a:off x="1487488" y="1875484"/>
          <a:ext cx="9217025" cy="40002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5" name="Textfeld 4"/>
          <p:cNvSpPr txBox="1"/>
          <p:nvPr/>
        </p:nvSpPr>
        <p:spPr>
          <a:xfrm>
            <a:off x="2279650" y="6084295"/>
            <a:ext cx="6921695" cy="54006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CH" sz="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7" name="Footer Placeholder 2">
            <a:extLst>
              <a:ext uri="{FF2B5EF4-FFF2-40B4-BE49-F238E27FC236}">
                <a16:creationId xmlns:a16="http://schemas.microsoft.com/office/drawing/2014/main" id="{8B4B6626-9A0F-4741-8F83-BF160AB040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10756" y="5875749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36133670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4dd304521cd42a335004f88bc78b46b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0119a1b2b524b2b9f972c52e0796504f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915E158-F398-42BF-8A91-7C2A147B9234}">
  <ds:schemaRefs>
    <ds:schemaRef ds:uri="http://schemas.microsoft.com/office/infopath/2007/PartnerControls"/>
    <ds:schemaRef ds:uri="http://schemas.microsoft.com/office/2006/documentManagement/types"/>
    <ds:schemaRef ds:uri="http://schemas.microsoft.com/office/2006/metadata/properties"/>
    <ds:schemaRef ds:uri="http://purl.org/dc/elements/1.1/"/>
    <ds:schemaRef ds:uri="2f5c8543-cf23-4718-a3b8-32b0a91d511a"/>
    <ds:schemaRef ds:uri="96e82a89-ba48-4728-b345-cf206dbec8f1"/>
    <ds:schemaRef ds:uri="http://schemas.openxmlformats.org/package/2006/metadata/core-properties"/>
    <ds:schemaRef ds:uri="http://purl.org/dc/terms/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526C710-BB50-495A-A8C3-AD5C2A79BEB2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5</Words>
  <Application>Microsoft Office PowerPoint</Application>
  <PresentationFormat>Breitbild</PresentationFormat>
  <Paragraphs>5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Konzernergebnis SBB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onzernergebnis SBB.</dc:title>
  <dc:creator>Meyer Raphael (KOM-PGA-VSF)</dc:creator>
  <cp:lastModifiedBy>Stefan Weigel (PAR-EPS)</cp:lastModifiedBy>
  <cp:revision>58</cp:revision>
  <dcterms:created xsi:type="dcterms:W3CDTF">2020-09-30T11:00:09Z</dcterms:created>
  <dcterms:modified xsi:type="dcterms:W3CDTF">2025-02-24T12:56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